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0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9.04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УГОДИЕ 2025 ГОДА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8" y="1296827"/>
            <a:ext cx="3117578" cy="5040611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4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660232" y="1296827"/>
            <a:ext cx="2188832" cy="5014910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707904" y="1296827"/>
            <a:ext cx="2808312" cy="504061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8</TotalTime>
  <Words>74</Words>
  <Application>Microsoft Office PowerPoint</Application>
  <PresentationFormat>Экран (4:3)</PresentationFormat>
  <Paragraphs>5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I ПОЛУГОДИЕ 2025 ГО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Dasha Dasha</cp:lastModifiedBy>
  <cp:revision>31</cp:revision>
  <cp:lastPrinted>2025-08-13T00:29:23Z</cp:lastPrinted>
  <dcterms:created xsi:type="dcterms:W3CDTF">2022-06-27T05:53:54Z</dcterms:created>
  <dcterms:modified xsi:type="dcterms:W3CDTF">2026-04-28T22:53:42Z</dcterms:modified>
</cp:coreProperties>
</file>